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60"/>
  </p:normalViewPr>
  <p:slideViewPr>
    <p:cSldViewPr snapToGrid="0">
      <p:cViewPr varScale="1">
        <p:scale>
          <a:sx n="62" d="100"/>
          <a:sy n="62" d="100"/>
        </p:scale>
        <p:origin x="792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150302557095451E-2"/>
          <c:y val="5.6731334509112288E-2"/>
          <c:w val="0.97969939488580915"/>
          <c:h val="0.8865373309817754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81834215167548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BA4-4A05-B9DF-52A2821B901E}"/>
                </c:ext>
              </c:extLst>
            </c:dLbl>
            <c:dLbl>
              <c:idx val="1"/>
              <c:layout>
                <c:manualLayout>
                  <c:x val="0"/>
                  <c:y val="-1.175778953556731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BA4-4A05-B9DF-52A2821B901E}"/>
                </c:ext>
              </c:extLst>
            </c:dLbl>
            <c:dLbl>
              <c:idx val="2"/>
              <c:layout>
                <c:manualLayout>
                  <c:x val="0"/>
                  <c:y val="-8.81834215167548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BA4-4A05-B9DF-52A2821B901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2.9</c:v>
                </c:pt>
                <c:pt idx="1">
                  <c:v>21.8</c:v>
                </c:pt>
                <c:pt idx="2">
                  <c:v>3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BA4-4A05-B9DF-52A2821B901E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81834215167548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BA4-4A05-B9DF-52A2821B901E}"/>
                </c:ext>
              </c:extLst>
            </c:dLbl>
            <c:dLbl>
              <c:idx val="1"/>
              <c:layout>
                <c:manualLayout>
                  <c:x val="0"/>
                  <c:y val="-8.81834215167548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BA4-4A05-B9DF-52A2821B901E}"/>
                </c:ext>
              </c:extLst>
            </c:dLbl>
            <c:dLbl>
              <c:idx val="2"/>
              <c:layout>
                <c:manualLayout>
                  <c:x val="0"/>
                  <c:y val="-8.81834215167548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BA4-4A05-B9DF-52A2821B901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5.0999999999999996</c:v>
                </c:pt>
                <c:pt idx="1">
                  <c:v>3.8999999999999986</c:v>
                </c:pt>
                <c:pt idx="2">
                  <c:v>7.2000000000000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BA4-4A05-B9DF-52A2821B901E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81834215167548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BA4-4A05-B9DF-52A2821B901E}"/>
                </c:ext>
              </c:extLst>
            </c:dLbl>
            <c:dLbl>
              <c:idx val="1"/>
              <c:layout>
                <c:manualLayout>
                  <c:x val="0"/>
                  <c:y val="-8.81834215167548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7BA4-4A05-B9DF-52A2821B901E}"/>
                </c:ext>
              </c:extLst>
            </c:dLbl>
            <c:dLbl>
              <c:idx val="2"/>
              <c:layout>
                <c:manualLayout>
                  <c:x val="0"/>
                  <c:y val="-8.818342151675484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BA4-4A05-B9DF-52A2821B901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3.5</c:v>
                </c:pt>
                <c:pt idx="1">
                  <c:v>5.3000000000000007</c:v>
                </c:pt>
                <c:pt idx="2">
                  <c:v>4.1000000000000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BA4-4A05-B9DF-52A2821B90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81559823"/>
        <c:axId val="1"/>
      </c:barChart>
      <c:catAx>
        <c:axId val="6815598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.40000000000000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815598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F8F24-167A-9DA7-CF48-18B1DCA0AA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9E3E05-952B-9585-841D-CB774FC17D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C934FC-4D91-1ACE-3AB7-BF7E223177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AA1A45-3996-04FF-C81E-5D17AB0267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109387-CCF7-CD6F-659B-606D5DF508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31543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C9B45F-E468-5846-8CA1-CD7FE1FAA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B557BF0-B2BF-6682-56F7-C8F38EC4F1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691FB5-E64D-3EC3-FC5C-E22A2A0CEB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42F8C3-5F40-D16F-8D31-BDE708B9C2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FFC037-17E9-022D-99B7-9941720633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72228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6B1560-89AF-4F9D-C6D3-75A2370C6D4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4520CC2-A1D9-E5B5-AAB9-2B6B130A3E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3606A7-4812-DB87-0375-EB355C8851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FE9F1F-9F62-4A4D-35C8-67636054F5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E755CC-9C62-A6E9-D7B1-831A384015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23664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6280C-371D-9754-BF9D-A95BFDE94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4607FB-88E2-81FE-1C35-1AF2ECF259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F15048-49D0-AF76-79E8-98A34DF820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DA4709-7E18-0A03-82F8-CAFF82C04C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7D235D-B602-45D2-FBA5-BB045B318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94583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3C6C9-84EE-E27C-C7A0-EF42C7C0E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48F761-4DEC-DE98-C46F-FFCF4E3C92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E0BEF5-A01F-FFB5-083E-9A8E25D2F2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0B60B1-4C13-2C7C-A36F-D8BD8B476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33A3B7-0352-19C3-9114-3D54C722A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225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530B15-E981-8C43-196B-EFF53F951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FE4262-89D5-BE1C-A419-4E3184BD7C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C175BA-36EA-C0D5-2F77-C66E232090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993D26-B22B-1A65-A155-176087416D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F691982-71EC-6074-66DE-6AE5537C0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D9B1DB-6182-DF68-79C0-3336D11A65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98875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17DE87-7EA0-B5EB-0E30-E084D9059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383D2D-AD3A-B68F-EDBE-F34BA164E3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857364-4EBB-184F-BB1D-F02D32DC56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A68C11-DF53-DB5D-7ED7-D4D0496B30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3E7BC60-9578-7203-73AF-3A041AA6C1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901E2E9-D3E6-D96C-E40A-958928EF51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4/06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C57A5A3-498C-40B2-C284-0755F6A08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77FBAF-B79D-4D87-06E6-AE96E738C6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29986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6B099A-EA39-08D4-2DB4-2A1317D02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B06E2F-E268-2CCC-B47C-0286A52D9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13445D-82DB-287D-8E79-0B23317DB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821DEE-C015-A1E5-E079-2460B4471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64908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1BA7DF-11C7-08DA-9495-FE2E044430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4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25C201-82BB-2E5E-D9D9-75605A393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A7AA9C-3B0F-BDC4-17FF-B6116879F2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67273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EE6588-BF06-7FBB-07A8-20CFDC900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510424-9C4A-CDDD-777A-904FEBC84C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08B024-69D0-9912-4814-7901CB026C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2EECF5-1FB9-A762-DA19-3B17978687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430208-2B14-A24D-6B5B-EE8D2B9CC7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D22AB0-77C7-3875-4953-191FC50E4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2208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24E36A-B3C1-072D-A274-67FC985DB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024A156-878E-7950-DAF7-8D18F7483C7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E1FF07-0A16-B601-89BC-A963CA05CA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1BB56F-24B8-1766-9FAE-D8C48B630B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3A996-64B4-4E33-A143-C595201D7CCE}" type="datetimeFigureOut">
              <a:rPr lang="en-GB" smtClean="0"/>
              <a:t>1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179401-7DB7-282E-E8C3-9B863D53BE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09FFC1-E90F-781C-036E-624386187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977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B696A97-AD42-D446-D147-546264B0DD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4640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A468D53-8D3C-63CD-BB3D-A104FB967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5F0FF0-D9FB-31DA-FAAF-87BD596155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6AA418-466E-1967-7CF0-96D682668A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3A996-64B4-4E33-A143-C595201D7CCE}" type="datetimeFigureOut">
              <a:rPr lang="en-GB" smtClean="0"/>
              <a:t>1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229864-E2C9-EDFD-E4CB-1550DB1402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DB95CE-DB71-6F72-8D8A-7E298E7C1B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A4E1F6-0A40-4CE3-AFDB-375767841A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500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image" Target="../media/image1.emf"/><Relationship Id="rId2" Type="http://schemas.openxmlformats.org/officeDocument/2006/relationships/tags" Target="../tags/tag4.xml"/><Relationship Id="rId16" Type="http://schemas.openxmlformats.org/officeDocument/2006/relationships/oleObject" Target="../embeddings/oleObject2.bin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slideLayout" Target="../slideLayouts/slideLayout1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BBFD6DF-1D25-6DC3-D41D-D8D7171B83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1501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95395107-72F1-DE0A-748A-08368D82B9C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0946404"/>
              </p:ext>
            </p:extLst>
          </p:nvPr>
        </p:nvGraphicFramePr>
        <p:xfrm>
          <a:off x="736600" y="806450"/>
          <a:ext cx="8132763" cy="5400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45F0FF0-D9FB-31DA-FAAF-87BD596155A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958975" y="5959475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7980778-A185-4523-B0BF-C6E1B8FBA2A4}" type="datetime'''''''''''''2''''0''''''22'''''''''''''''''''''''''''''''">
              <a:rPr lang="en-GB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GB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45F0FF0-D9FB-31DA-FAAF-87BD596155A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614863" y="5959475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AF0D97-311D-41BC-BC5E-D191773C1FBA}" type="datetime'''''''''2''''''''''''''''''''''''0''''''2''''''''''''''3'">
              <a:rPr lang="en-GB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GB" sz="14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45F0FF0-D9FB-31DA-FAAF-87BD596155A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270750" y="5959475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9914799-858E-49D2-9EC3-6802E7CEF83D}" type="datetime'''''''''''2''''''0''''''''''''''2''''''''''''''''''''4'''">
              <a:rPr lang="en-GB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GB" sz="140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45F0FF0-D9FB-31DA-FAAF-87BD596155A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030413" y="3465513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B496CE9-8C9D-4B91-B052-9D5ECB47D844}" type="datetime'''''''''''''''2''''''''''''''2'''''''''''''''''''''''">
              <a:rPr lang="en-GB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GB" sz="1400" dirty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45F0FF0-D9FB-31DA-FAAF-87BD596155A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686300" y="2484438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5CC905-6E33-4646-9A3B-8B91487D6EB9}" type="datetime'''''''''''''''''''''''''''''''''''3''''''''''1'''''''''''">
              <a:rPr lang="en-GB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en-GB" sz="1400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45F0FF0-D9FB-31DA-FAAF-87BD596155A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342188" y="895350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0FA3086-5E1E-4B96-8731-6F8C8436EA02}" type="datetime'4''6'''''''''''">
              <a:rPr lang="en-GB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en-GB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4503DF-2EB1-D686-AE1B-B4EBBB0AF516}"/>
              </a:ext>
            </a:extLst>
          </p:cNvPr>
          <p:cNvSpPr txBox="1"/>
          <p:nvPr/>
        </p:nvSpPr>
        <p:spPr>
          <a:xfrm>
            <a:off x="369979" y="6328732"/>
            <a:ext cx="61427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DE785C8-A623-96D0-39B0-A3E5FDA5D09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858250" y="1184275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7036FE0-BC0B-1F8B-2FB9-CB9182117CF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858250" y="1438275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3682636-CAA7-A7F0-6D05-47CCC562B240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8858250" y="1692275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645F0FF0-D9FB-31DA-FAAF-87BD596155A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159875" y="1703388"/>
            <a:ext cx="561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7FB9708-F4D9-4F27-BD06-A7A7F852A942}" type="datetime'''''S''e''r''''i''''''''''e''''s ''''''''''''''''''3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GB" sz="1400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45F0FF0-D9FB-31DA-FAAF-87BD596155A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159875" y="1195388"/>
            <a:ext cx="561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8E0C271-1F11-45CF-821B-335C12FD2D9C}" type="datetime'S''''''''''er''''''i''''''''e''s'''''''''''''' ''''''1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GB" sz="14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45F0FF0-D9FB-31DA-FAAF-87BD596155A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159875" y="1449388"/>
            <a:ext cx="561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ABAD8F3-359D-4DD4-8748-4BAA7E037E33}" type="datetime'S''''''''e''''''''''r''''''''i''''''es'''''' ''2''''''''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55641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4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I00B0RoA91IhXXFECSl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I7Ac5GGLSHL12A_mAG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D0Z1QrPwCcPeOCAaGT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Ltt3dMpO__TBhSulrK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KVyOD96VJV1bCHrK0q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P_HO.VcFXQXsz6jm7X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CHbQMCo3.GG4Ym08fc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V0.EyypZEeaKLgBW60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MeaNRXnNqZoftx97J2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38U078to3rSomt_jJi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dkaFsI.jLKI9CK85HJ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WyrpZifQqNG4gPEdtI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E0V5PxzvFYNZaREYQgQ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</TotalTime>
  <Words>20</Words>
  <Application>Microsoft Office PowerPoint</Application>
  <PresentationFormat>Widescreen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llie Thurston</dc:creator>
  <cp:lastModifiedBy>Ollie Thurston</cp:lastModifiedBy>
  <cp:revision>6</cp:revision>
  <dcterms:created xsi:type="dcterms:W3CDTF">2024-06-13T13:21:10Z</dcterms:created>
  <dcterms:modified xsi:type="dcterms:W3CDTF">2024-06-14T15:53:08Z</dcterms:modified>
</cp:coreProperties>
</file>